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sldIdLst>
    <p:sldId id="256" r:id="rId2"/>
  </p:sldIdLst>
  <p:sldSz cx="3095625" cy="1439863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49" autoAdjust="0"/>
    <p:restoredTop sz="94660"/>
  </p:normalViewPr>
  <p:slideViewPr>
    <p:cSldViewPr snapToGrid="0">
      <p:cViewPr>
        <p:scale>
          <a:sx n="400" d="100"/>
          <a:sy n="400" d="100"/>
        </p:scale>
        <p:origin x="-684" y="6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6953" y="235644"/>
            <a:ext cx="2321719" cy="501286"/>
          </a:xfrm>
        </p:spPr>
        <p:txBody>
          <a:bodyPr anchor="b"/>
          <a:lstStyle>
            <a:lvl1pPr algn="ctr">
              <a:defRPr sz="126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6953" y="756262"/>
            <a:ext cx="2321719" cy="347633"/>
          </a:xfrm>
        </p:spPr>
        <p:txBody>
          <a:bodyPr/>
          <a:lstStyle>
            <a:lvl1pPr marL="0" indent="0" algn="ctr">
              <a:buNone/>
              <a:defRPr sz="504"/>
            </a:lvl1pPr>
            <a:lvl2pPr marL="96012" indent="0" algn="ctr">
              <a:buNone/>
              <a:defRPr sz="420"/>
            </a:lvl2pPr>
            <a:lvl3pPr marL="192024" indent="0" algn="ctr">
              <a:buNone/>
              <a:defRPr sz="378"/>
            </a:lvl3pPr>
            <a:lvl4pPr marL="288036" indent="0" algn="ctr">
              <a:buNone/>
              <a:defRPr sz="336"/>
            </a:lvl4pPr>
            <a:lvl5pPr marL="384048" indent="0" algn="ctr">
              <a:buNone/>
              <a:defRPr sz="336"/>
            </a:lvl5pPr>
            <a:lvl6pPr marL="480060" indent="0" algn="ctr">
              <a:buNone/>
              <a:defRPr sz="336"/>
            </a:lvl6pPr>
            <a:lvl7pPr marL="576072" indent="0" algn="ctr">
              <a:buNone/>
              <a:defRPr sz="336"/>
            </a:lvl7pPr>
            <a:lvl8pPr marL="672084" indent="0" algn="ctr">
              <a:buNone/>
              <a:defRPr sz="336"/>
            </a:lvl8pPr>
            <a:lvl9pPr marL="768096" indent="0" algn="ctr">
              <a:buNone/>
              <a:defRPr sz="336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97478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3279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215307" y="76660"/>
            <a:ext cx="667494" cy="1220217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2824" y="76660"/>
            <a:ext cx="1963787" cy="1220217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02211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6338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212" y="358966"/>
            <a:ext cx="2669977" cy="598943"/>
          </a:xfrm>
        </p:spPr>
        <p:txBody>
          <a:bodyPr anchor="b"/>
          <a:lstStyle>
            <a:lvl1pPr>
              <a:defRPr sz="126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1212" y="963575"/>
            <a:ext cx="2669977" cy="314970"/>
          </a:xfrm>
        </p:spPr>
        <p:txBody>
          <a:bodyPr/>
          <a:lstStyle>
            <a:lvl1pPr marL="0" indent="0">
              <a:buNone/>
              <a:defRPr sz="504">
                <a:solidFill>
                  <a:schemeClr val="tx1">
                    <a:tint val="75000"/>
                  </a:schemeClr>
                </a:solidFill>
              </a:defRPr>
            </a:lvl1pPr>
            <a:lvl2pPr marL="96012" indent="0">
              <a:buNone/>
              <a:defRPr sz="420">
                <a:solidFill>
                  <a:schemeClr val="tx1">
                    <a:tint val="75000"/>
                  </a:schemeClr>
                </a:solidFill>
              </a:defRPr>
            </a:lvl2pPr>
            <a:lvl3pPr marL="192024" indent="0">
              <a:buNone/>
              <a:defRPr sz="378">
                <a:solidFill>
                  <a:schemeClr val="tx1">
                    <a:tint val="75000"/>
                  </a:schemeClr>
                </a:solidFill>
              </a:defRPr>
            </a:lvl3pPr>
            <a:lvl4pPr marL="288036" indent="0">
              <a:buNone/>
              <a:defRPr sz="336">
                <a:solidFill>
                  <a:schemeClr val="tx1">
                    <a:tint val="75000"/>
                  </a:schemeClr>
                </a:solidFill>
              </a:defRPr>
            </a:lvl4pPr>
            <a:lvl5pPr marL="384048" indent="0">
              <a:buNone/>
              <a:defRPr sz="336">
                <a:solidFill>
                  <a:schemeClr val="tx1">
                    <a:tint val="75000"/>
                  </a:schemeClr>
                </a:solidFill>
              </a:defRPr>
            </a:lvl5pPr>
            <a:lvl6pPr marL="480060" indent="0">
              <a:buNone/>
              <a:defRPr sz="336">
                <a:solidFill>
                  <a:schemeClr val="tx1">
                    <a:tint val="75000"/>
                  </a:schemeClr>
                </a:solidFill>
              </a:defRPr>
            </a:lvl6pPr>
            <a:lvl7pPr marL="576072" indent="0">
              <a:buNone/>
              <a:defRPr sz="336">
                <a:solidFill>
                  <a:schemeClr val="tx1">
                    <a:tint val="75000"/>
                  </a:schemeClr>
                </a:solidFill>
              </a:defRPr>
            </a:lvl7pPr>
            <a:lvl8pPr marL="672084" indent="0">
              <a:buNone/>
              <a:defRPr sz="336">
                <a:solidFill>
                  <a:schemeClr val="tx1">
                    <a:tint val="75000"/>
                  </a:schemeClr>
                </a:solidFill>
              </a:defRPr>
            </a:lvl8pPr>
            <a:lvl9pPr marL="768096" indent="0">
              <a:buNone/>
              <a:defRPr sz="33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3192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2824" y="383297"/>
            <a:ext cx="1315641" cy="91358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67160" y="383297"/>
            <a:ext cx="1315641" cy="91358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42818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76659"/>
            <a:ext cx="2669977" cy="27830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3228" y="352967"/>
            <a:ext cx="1309594" cy="172983"/>
          </a:xfrm>
        </p:spPr>
        <p:txBody>
          <a:bodyPr anchor="b"/>
          <a:lstStyle>
            <a:lvl1pPr marL="0" indent="0">
              <a:buNone/>
              <a:defRPr sz="504" b="1"/>
            </a:lvl1pPr>
            <a:lvl2pPr marL="96012" indent="0">
              <a:buNone/>
              <a:defRPr sz="420" b="1"/>
            </a:lvl2pPr>
            <a:lvl3pPr marL="192024" indent="0">
              <a:buNone/>
              <a:defRPr sz="378" b="1"/>
            </a:lvl3pPr>
            <a:lvl4pPr marL="288036" indent="0">
              <a:buNone/>
              <a:defRPr sz="336" b="1"/>
            </a:lvl4pPr>
            <a:lvl5pPr marL="384048" indent="0">
              <a:buNone/>
              <a:defRPr sz="336" b="1"/>
            </a:lvl5pPr>
            <a:lvl6pPr marL="480060" indent="0">
              <a:buNone/>
              <a:defRPr sz="336" b="1"/>
            </a:lvl6pPr>
            <a:lvl7pPr marL="576072" indent="0">
              <a:buNone/>
              <a:defRPr sz="336" b="1"/>
            </a:lvl7pPr>
            <a:lvl8pPr marL="672084" indent="0">
              <a:buNone/>
              <a:defRPr sz="336" b="1"/>
            </a:lvl8pPr>
            <a:lvl9pPr marL="768096" indent="0">
              <a:buNone/>
              <a:defRPr sz="336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3228" y="525950"/>
            <a:ext cx="1309594" cy="77359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567160" y="352967"/>
            <a:ext cx="1316044" cy="172983"/>
          </a:xfrm>
        </p:spPr>
        <p:txBody>
          <a:bodyPr anchor="b"/>
          <a:lstStyle>
            <a:lvl1pPr marL="0" indent="0">
              <a:buNone/>
              <a:defRPr sz="504" b="1"/>
            </a:lvl1pPr>
            <a:lvl2pPr marL="96012" indent="0">
              <a:buNone/>
              <a:defRPr sz="420" b="1"/>
            </a:lvl2pPr>
            <a:lvl3pPr marL="192024" indent="0">
              <a:buNone/>
              <a:defRPr sz="378" b="1"/>
            </a:lvl3pPr>
            <a:lvl4pPr marL="288036" indent="0">
              <a:buNone/>
              <a:defRPr sz="336" b="1"/>
            </a:lvl4pPr>
            <a:lvl5pPr marL="384048" indent="0">
              <a:buNone/>
              <a:defRPr sz="336" b="1"/>
            </a:lvl5pPr>
            <a:lvl6pPr marL="480060" indent="0">
              <a:buNone/>
              <a:defRPr sz="336" b="1"/>
            </a:lvl6pPr>
            <a:lvl7pPr marL="576072" indent="0">
              <a:buNone/>
              <a:defRPr sz="336" b="1"/>
            </a:lvl7pPr>
            <a:lvl8pPr marL="672084" indent="0">
              <a:buNone/>
              <a:defRPr sz="336" b="1"/>
            </a:lvl8pPr>
            <a:lvl9pPr marL="768096" indent="0">
              <a:buNone/>
              <a:defRPr sz="336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567160" y="525950"/>
            <a:ext cx="1316044" cy="77359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02868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83246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80211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95991"/>
            <a:ext cx="998420" cy="335968"/>
          </a:xfrm>
        </p:spPr>
        <p:txBody>
          <a:bodyPr anchor="b"/>
          <a:lstStyle>
            <a:lvl1pPr>
              <a:defRPr sz="672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16044" y="207314"/>
            <a:ext cx="1567160" cy="1023236"/>
          </a:xfrm>
        </p:spPr>
        <p:txBody>
          <a:bodyPr/>
          <a:lstStyle>
            <a:lvl1pPr>
              <a:defRPr sz="672"/>
            </a:lvl1pPr>
            <a:lvl2pPr>
              <a:defRPr sz="588"/>
            </a:lvl2pPr>
            <a:lvl3pPr>
              <a:defRPr sz="504"/>
            </a:lvl3pPr>
            <a:lvl4pPr>
              <a:defRPr sz="420"/>
            </a:lvl4pPr>
            <a:lvl5pPr>
              <a:defRPr sz="420"/>
            </a:lvl5pPr>
            <a:lvl6pPr>
              <a:defRPr sz="420"/>
            </a:lvl6pPr>
            <a:lvl7pPr>
              <a:defRPr sz="420"/>
            </a:lvl7pPr>
            <a:lvl8pPr>
              <a:defRPr sz="420"/>
            </a:lvl8pPr>
            <a:lvl9pPr>
              <a:defRPr sz="42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3227" y="431959"/>
            <a:ext cx="998420" cy="800257"/>
          </a:xfrm>
        </p:spPr>
        <p:txBody>
          <a:bodyPr/>
          <a:lstStyle>
            <a:lvl1pPr marL="0" indent="0">
              <a:buNone/>
              <a:defRPr sz="336"/>
            </a:lvl1pPr>
            <a:lvl2pPr marL="96012" indent="0">
              <a:buNone/>
              <a:defRPr sz="294"/>
            </a:lvl2pPr>
            <a:lvl3pPr marL="192024" indent="0">
              <a:buNone/>
              <a:defRPr sz="252"/>
            </a:lvl3pPr>
            <a:lvl4pPr marL="288036" indent="0">
              <a:buNone/>
              <a:defRPr sz="210"/>
            </a:lvl4pPr>
            <a:lvl5pPr marL="384048" indent="0">
              <a:buNone/>
              <a:defRPr sz="210"/>
            </a:lvl5pPr>
            <a:lvl6pPr marL="480060" indent="0">
              <a:buNone/>
              <a:defRPr sz="210"/>
            </a:lvl6pPr>
            <a:lvl7pPr marL="576072" indent="0">
              <a:buNone/>
              <a:defRPr sz="210"/>
            </a:lvl7pPr>
            <a:lvl8pPr marL="672084" indent="0">
              <a:buNone/>
              <a:defRPr sz="210"/>
            </a:lvl8pPr>
            <a:lvl9pPr marL="768096" indent="0">
              <a:buNone/>
              <a:defRPr sz="21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79588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95991"/>
            <a:ext cx="998420" cy="335968"/>
          </a:xfrm>
        </p:spPr>
        <p:txBody>
          <a:bodyPr anchor="b"/>
          <a:lstStyle>
            <a:lvl1pPr>
              <a:defRPr sz="672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316044" y="207314"/>
            <a:ext cx="1567160" cy="1023236"/>
          </a:xfrm>
        </p:spPr>
        <p:txBody>
          <a:bodyPr anchor="t"/>
          <a:lstStyle>
            <a:lvl1pPr marL="0" indent="0">
              <a:buNone/>
              <a:defRPr sz="672"/>
            </a:lvl1pPr>
            <a:lvl2pPr marL="96012" indent="0">
              <a:buNone/>
              <a:defRPr sz="588"/>
            </a:lvl2pPr>
            <a:lvl3pPr marL="192024" indent="0">
              <a:buNone/>
              <a:defRPr sz="504"/>
            </a:lvl3pPr>
            <a:lvl4pPr marL="288036" indent="0">
              <a:buNone/>
              <a:defRPr sz="420"/>
            </a:lvl4pPr>
            <a:lvl5pPr marL="384048" indent="0">
              <a:buNone/>
              <a:defRPr sz="420"/>
            </a:lvl5pPr>
            <a:lvl6pPr marL="480060" indent="0">
              <a:buNone/>
              <a:defRPr sz="420"/>
            </a:lvl6pPr>
            <a:lvl7pPr marL="576072" indent="0">
              <a:buNone/>
              <a:defRPr sz="420"/>
            </a:lvl7pPr>
            <a:lvl8pPr marL="672084" indent="0">
              <a:buNone/>
              <a:defRPr sz="420"/>
            </a:lvl8pPr>
            <a:lvl9pPr marL="768096" indent="0">
              <a:buNone/>
              <a:defRPr sz="42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3227" y="431959"/>
            <a:ext cx="998420" cy="800257"/>
          </a:xfrm>
        </p:spPr>
        <p:txBody>
          <a:bodyPr/>
          <a:lstStyle>
            <a:lvl1pPr marL="0" indent="0">
              <a:buNone/>
              <a:defRPr sz="336"/>
            </a:lvl1pPr>
            <a:lvl2pPr marL="96012" indent="0">
              <a:buNone/>
              <a:defRPr sz="294"/>
            </a:lvl2pPr>
            <a:lvl3pPr marL="192024" indent="0">
              <a:buNone/>
              <a:defRPr sz="252"/>
            </a:lvl3pPr>
            <a:lvl4pPr marL="288036" indent="0">
              <a:buNone/>
              <a:defRPr sz="210"/>
            </a:lvl4pPr>
            <a:lvl5pPr marL="384048" indent="0">
              <a:buNone/>
              <a:defRPr sz="210"/>
            </a:lvl5pPr>
            <a:lvl6pPr marL="480060" indent="0">
              <a:buNone/>
              <a:defRPr sz="210"/>
            </a:lvl6pPr>
            <a:lvl7pPr marL="576072" indent="0">
              <a:buNone/>
              <a:defRPr sz="210"/>
            </a:lvl7pPr>
            <a:lvl8pPr marL="672084" indent="0">
              <a:buNone/>
              <a:defRPr sz="210"/>
            </a:lvl8pPr>
            <a:lvl9pPr marL="768096" indent="0">
              <a:buNone/>
              <a:defRPr sz="21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6599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2824" y="76659"/>
            <a:ext cx="2669977" cy="2783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2824" y="383297"/>
            <a:ext cx="2669977" cy="9135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12824" y="1334540"/>
            <a:ext cx="696516" cy="7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5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93BBD2-B587-4421-B8E5-F07A11DB88D9}" type="datetimeFigureOut">
              <a:rPr lang="de-DE" smtClean="0"/>
              <a:t>29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25426" y="1334540"/>
            <a:ext cx="1044773" cy="7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5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86285" y="1334540"/>
            <a:ext cx="696516" cy="7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5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99507201"/>
              </p:ext>
            </p:extLst>
          </p:nvPr>
        </p:nvGraphicFramePr>
        <p:xfrm>
          <a:off x="406" y="334"/>
          <a:ext cx="403" cy="3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16" imgW="384" imgH="384" progId="TCLayout.ActiveDocument.1">
                  <p:embed/>
                </p:oleObj>
              </mc:Choice>
              <mc:Fallback>
                <p:oleObj name="think-cell Folie" r:id="rId16" imgW="384" imgH="38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406" y="334"/>
                        <a:ext cx="403" cy="3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15"/>
            </p:custDataLst>
          </p:nvPr>
        </p:nvSpPr>
        <p:spPr>
          <a:xfrm>
            <a:off x="0" y="1"/>
            <a:ext cx="40308" cy="333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924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1930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192024" rtl="0" eaLnBrk="1" latinLnBrk="0" hangingPunct="1">
        <a:lnSpc>
          <a:spcPct val="90000"/>
        </a:lnSpc>
        <a:spcBef>
          <a:spcPct val="0"/>
        </a:spcBef>
        <a:buNone/>
        <a:defRPr sz="92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" indent="-48006" algn="l" defTabSz="192024" rtl="0" eaLnBrk="1" latinLnBrk="0" hangingPunct="1">
        <a:lnSpc>
          <a:spcPct val="90000"/>
        </a:lnSpc>
        <a:spcBef>
          <a:spcPts val="210"/>
        </a:spcBef>
        <a:buFont typeface="Arial" panose="020B0604020202020204" pitchFamily="34" charset="0"/>
        <a:buChar char="•"/>
        <a:defRPr sz="588" kern="1200">
          <a:solidFill>
            <a:schemeClr val="tx1"/>
          </a:solidFill>
          <a:latin typeface="+mn-lt"/>
          <a:ea typeface="+mn-ea"/>
          <a:cs typeface="+mn-cs"/>
        </a:defRPr>
      </a:lvl1pPr>
      <a:lvl2pPr marL="144018" indent="-48006" algn="l" defTabSz="192024" rtl="0" eaLnBrk="1" latinLnBrk="0" hangingPunct="1">
        <a:lnSpc>
          <a:spcPct val="90000"/>
        </a:lnSpc>
        <a:spcBef>
          <a:spcPts val="105"/>
        </a:spcBef>
        <a:buFont typeface="Arial" panose="020B0604020202020204" pitchFamily="34" charset="0"/>
        <a:buChar char="•"/>
        <a:defRPr sz="504" kern="1200">
          <a:solidFill>
            <a:schemeClr val="tx1"/>
          </a:solidFill>
          <a:latin typeface="+mn-lt"/>
          <a:ea typeface="+mn-ea"/>
          <a:cs typeface="+mn-cs"/>
        </a:defRPr>
      </a:lvl2pPr>
      <a:lvl3pPr marL="240030" indent="-48006" algn="l" defTabSz="192024" rtl="0" eaLnBrk="1" latinLnBrk="0" hangingPunct="1">
        <a:lnSpc>
          <a:spcPct val="90000"/>
        </a:lnSpc>
        <a:spcBef>
          <a:spcPts val="105"/>
        </a:spcBef>
        <a:buFont typeface="Arial" panose="020B0604020202020204" pitchFamily="34" charset="0"/>
        <a:buChar char="•"/>
        <a:defRPr sz="420" kern="1200">
          <a:solidFill>
            <a:schemeClr val="tx1"/>
          </a:solidFill>
          <a:latin typeface="+mn-lt"/>
          <a:ea typeface="+mn-ea"/>
          <a:cs typeface="+mn-cs"/>
        </a:defRPr>
      </a:lvl3pPr>
      <a:lvl4pPr marL="336042" indent="-48006" algn="l" defTabSz="192024" rtl="0" eaLnBrk="1" latinLnBrk="0" hangingPunct="1">
        <a:lnSpc>
          <a:spcPct val="90000"/>
        </a:lnSpc>
        <a:spcBef>
          <a:spcPts val="105"/>
        </a:spcBef>
        <a:buFont typeface="Arial" panose="020B0604020202020204" pitchFamily="34" charset="0"/>
        <a:buChar char="•"/>
        <a:defRPr sz="378" kern="1200">
          <a:solidFill>
            <a:schemeClr val="tx1"/>
          </a:solidFill>
          <a:latin typeface="+mn-lt"/>
          <a:ea typeface="+mn-ea"/>
          <a:cs typeface="+mn-cs"/>
        </a:defRPr>
      </a:lvl4pPr>
      <a:lvl5pPr marL="432054" indent="-48006" algn="l" defTabSz="192024" rtl="0" eaLnBrk="1" latinLnBrk="0" hangingPunct="1">
        <a:lnSpc>
          <a:spcPct val="90000"/>
        </a:lnSpc>
        <a:spcBef>
          <a:spcPts val="105"/>
        </a:spcBef>
        <a:buFont typeface="Arial" panose="020B0604020202020204" pitchFamily="34" charset="0"/>
        <a:buChar char="•"/>
        <a:defRPr sz="378" kern="1200">
          <a:solidFill>
            <a:schemeClr val="tx1"/>
          </a:solidFill>
          <a:latin typeface="+mn-lt"/>
          <a:ea typeface="+mn-ea"/>
          <a:cs typeface="+mn-cs"/>
        </a:defRPr>
      </a:lvl5pPr>
      <a:lvl6pPr marL="528066" indent="-48006" algn="l" defTabSz="192024" rtl="0" eaLnBrk="1" latinLnBrk="0" hangingPunct="1">
        <a:lnSpc>
          <a:spcPct val="90000"/>
        </a:lnSpc>
        <a:spcBef>
          <a:spcPts val="105"/>
        </a:spcBef>
        <a:buFont typeface="Arial" panose="020B0604020202020204" pitchFamily="34" charset="0"/>
        <a:buChar char="•"/>
        <a:defRPr sz="378" kern="1200">
          <a:solidFill>
            <a:schemeClr val="tx1"/>
          </a:solidFill>
          <a:latin typeface="+mn-lt"/>
          <a:ea typeface="+mn-ea"/>
          <a:cs typeface="+mn-cs"/>
        </a:defRPr>
      </a:lvl6pPr>
      <a:lvl7pPr marL="624078" indent="-48006" algn="l" defTabSz="192024" rtl="0" eaLnBrk="1" latinLnBrk="0" hangingPunct="1">
        <a:lnSpc>
          <a:spcPct val="90000"/>
        </a:lnSpc>
        <a:spcBef>
          <a:spcPts val="105"/>
        </a:spcBef>
        <a:buFont typeface="Arial" panose="020B0604020202020204" pitchFamily="34" charset="0"/>
        <a:buChar char="•"/>
        <a:defRPr sz="378" kern="1200">
          <a:solidFill>
            <a:schemeClr val="tx1"/>
          </a:solidFill>
          <a:latin typeface="+mn-lt"/>
          <a:ea typeface="+mn-ea"/>
          <a:cs typeface="+mn-cs"/>
        </a:defRPr>
      </a:lvl7pPr>
      <a:lvl8pPr marL="720090" indent="-48006" algn="l" defTabSz="192024" rtl="0" eaLnBrk="1" latinLnBrk="0" hangingPunct="1">
        <a:lnSpc>
          <a:spcPct val="90000"/>
        </a:lnSpc>
        <a:spcBef>
          <a:spcPts val="105"/>
        </a:spcBef>
        <a:buFont typeface="Arial" panose="020B0604020202020204" pitchFamily="34" charset="0"/>
        <a:buChar char="•"/>
        <a:defRPr sz="378" kern="1200">
          <a:solidFill>
            <a:schemeClr val="tx1"/>
          </a:solidFill>
          <a:latin typeface="+mn-lt"/>
          <a:ea typeface="+mn-ea"/>
          <a:cs typeface="+mn-cs"/>
        </a:defRPr>
      </a:lvl8pPr>
      <a:lvl9pPr marL="816102" indent="-48006" algn="l" defTabSz="192024" rtl="0" eaLnBrk="1" latinLnBrk="0" hangingPunct="1">
        <a:lnSpc>
          <a:spcPct val="90000"/>
        </a:lnSpc>
        <a:spcBef>
          <a:spcPts val="105"/>
        </a:spcBef>
        <a:buFont typeface="Arial" panose="020B0604020202020204" pitchFamily="34" charset="0"/>
        <a:buChar char="•"/>
        <a:defRPr sz="37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1pPr>
      <a:lvl2pPr marL="96012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2pPr>
      <a:lvl3pPr marL="192024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3pPr>
      <a:lvl4pPr marL="288036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4pPr>
      <a:lvl5pPr marL="384048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5pPr>
      <a:lvl6pPr marL="480060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6pPr>
      <a:lvl7pPr marL="576072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7pPr>
      <a:lvl8pPr marL="672084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8pPr>
      <a:lvl9pPr marL="768096" algn="l" defTabSz="192024" rtl="0" eaLnBrk="1" latinLnBrk="0" hangingPunct="1">
        <a:defRPr sz="3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AD299387-FAE2-439F-95BB-BA7F8C5D7E9A}"/>
              </a:ext>
            </a:extLst>
          </p:cNvPr>
          <p:cNvCxnSpPr>
            <a:cxnSpLocks/>
            <a:endCxn id="182" idx="6"/>
          </p:cNvCxnSpPr>
          <p:nvPr/>
        </p:nvCxnSpPr>
        <p:spPr>
          <a:xfrm flipH="1">
            <a:off x="2388052" y="1069363"/>
            <a:ext cx="579232" cy="52450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240064"/>
              </p:ext>
            </p:extLst>
          </p:nvPr>
        </p:nvGraphicFramePr>
        <p:xfrm>
          <a:off x="-5684503" y="-3385098"/>
          <a:ext cx="1986" cy="19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5684503" y="-3385098"/>
                        <a:ext cx="1986" cy="19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5" name="Bogen 184">
            <a:extLst>
              <a:ext uri="{FF2B5EF4-FFF2-40B4-BE49-F238E27FC236}">
                <a16:creationId xmlns:a16="http://schemas.microsoft.com/office/drawing/2014/main" id="{087A55A0-5BC1-4523-9ED5-7FFF2AF716D5}"/>
              </a:ext>
            </a:extLst>
          </p:cNvPr>
          <p:cNvSpPr/>
          <p:nvPr/>
        </p:nvSpPr>
        <p:spPr>
          <a:xfrm>
            <a:off x="2200458" y="957060"/>
            <a:ext cx="354658" cy="358901"/>
          </a:xfrm>
          <a:prstGeom prst="arc">
            <a:avLst>
              <a:gd name="adj1" fmla="val 15516117"/>
              <a:gd name="adj2" fmla="val 20918329"/>
            </a:avLst>
          </a:prstGeom>
          <a:ln w="6350">
            <a:solidFill>
              <a:schemeClr val="tx1"/>
            </a:solidFill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Textfeld 171"/>
              <p:cNvSpPr txBox="1"/>
              <p:nvPr/>
            </p:nvSpPr>
            <p:spPr>
              <a:xfrm>
                <a:off x="165644" y="1112242"/>
                <a:ext cx="493405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  <m:r>
                        <a:rPr lang="de-DE" sz="800" i="1" dirty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=0</m:t>
                      </m:r>
                    </m:oMath>
                  </m:oMathPara>
                </a14:m>
                <a:endParaRPr lang="de-DE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72" name="Textfeld 17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5644" y="1112242"/>
                <a:ext cx="493405" cy="21544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1" name="Textfeld 170"/>
              <p:cNvSpPr txBox="1"/>
              <p:nvPr/>
            </p:nvSpPr>
            <p:spPr>
              <a:xfrm>
                <a:off x="701425" y="416785"/>
                <a:ext cx="301044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71" name="Textfeld 17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1425" y="416785"/>
                <a:ext cx="301044" cy="215444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5" name="Textfeld 134"/>
          <p:cNvSpPr txBox="1"/>
          <p:nvPr/>
        </p:nvSpPr>
        <p:spPr>
          <a:xfrm>
            <a:off x="-94146" y="-77043"/>
            <a:ext cx="2856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)</a:t>
            </a:r>
          </a:p>
        </p:txBody>
      </p:sp>
      <p:sp>
        <p:nvSpPr>
          <p:cNvPr id="136" name="Textfeld 135"/>
          <p:cNvSpPr txBox="1"/>
          <p:nvPr/>
        </p:nvSpPr>
        <p:spPr>
          <a:xfrm>
            <a:off x="1529031" y="-77043"/>
            <a:ext cx="2920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)</a:t>
            </a:r>
          </a:p>
        </p:txBody>
      </p:sp>
      <p:cxnSp>
        <p:nvCxnSpPr>
          <p:cNvPr id="154" name="Gerade Verbindung mit Pfeil 153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243409" y="131648"/>
            <a:ext cx="0" cy="50400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cxnSp>
        <p:nvCxnSpPr>
          <p:cNvPr id="155" name="Gerade Verbindung mit Pfeil 154">
            <a:extLst>
              <a:ext uri="{FF2B5EF4-FFF2-40B4-BE49-F238E27FC236}">
                <a16:creationId xmlns:a16="http://schemas.microsoft.com/office/drawing/2014/main" id="{26433530-B7EC-4A0C-814D-374CF5E0A871}"/>
              </a:ext>
            </a:extLst>
          </p:cNvPr>
          <p:cNvCxnSpPr>
            <a:cxnSpLocks/>
          </p:cNvCxnSpPr>
          <p:nvPr/>
        </p:nvCxnSpPr>
        <p:spPr>
          <a:xfrm>
            <a:off x="243410" y="635649"/>
            <a:ext cx="1140891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84359" y="-64501"/>
                <a:ext cx="318100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57" name="Textfeld 156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359" y="-64501"/>
                <a:ext cx="318100" cy="21544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</p:cNvCxnSpPr>
          <p:nvPr/>
        </p:nvCxnSpPr>
        <p:spPr>
          <a:xfrm flipV="1">
            <a:off x="243409" y="821010"/>
            <a:ext cx="0" cy="50400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26433530-B7EC-4A0C-814D-374CF5E0A871}"/>
              </a:ext>
            </a:extLst>
          </p:cNvPr>
          <p:cNvCxnSpPr>
            <a:cxnSpLocks/>
          </p:cNvCxnSpPr>
          <p:nvPr/>
        </p:nvCxnSpPr>
        <p:spPr>
          <a:xfrm>
            <a:off x="243409" y="1331852"/>
            <a:ext cx="1141200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83173" y="635244"/>
                <a:ext cx="320472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173" y="635244"/>
                <a:ext cx="320472" cy="215444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4" name="Kreis 63"/>
          <p:cNvSpPr/>
          <p:nvPr/>
        </p:nvSpPr>
        <p:spPr>
          <a:xfrm>
            <a:off x="243409" y="549628"/>
            <a:ext cx="1042232" cy="86021"/>
          </a:xfrm>
          <a:custGeom>
            <a:avLst/>
            <a:gdLst>
              <a:gd name="connsiteX0" fmla="*/ 7337531 w 12600000"/>
              <a:gd name="connsiteY0" fmla="*/ 12513978 h 12600000"/>
              <a:gd name="connsiteX1" fmla="*/ 6295299 w 12600000"/>
              <a:gd name="connsiteY1" fmla="*/ 12599998 h 12600000"/>
              <a:gd name="connsiteX2" fmla="*/ 6300000 w 12600000"/>
              <a:gd name="connsiteY2" fmla="*/ 6300000 h 12600000"/>
              <a:gd name="connsiteX3" fmla="*/ 7337531 w 12600000"/>
              <a:gd name="connsiteY3" fmla="*/ 12513978 h 12600000"/>
              <a:gd name="connsiteX0" fmla="*/ 1049165 w 1049165"/>
              <a:gd name="connsiteY0" fmla="*/ 6213978 h 6299999"/>
              <a:gd name="connsiteX1" fmla="*/ 6933 w 1049165"/>
              <a:gd name="connsiteY1" fmla="*/ 6299998 h 6299999"/>
              <a:gd name="connsiteX2" fmla="*/ 0 w 1049165"/>
              <a:gd name="connsiteY2" fmla="*/ 4667283 h 6299999"/>
              <a:gd name="connsiteX3" fmla="*/ 11634 w 1049165"/>
              <a:gd name="connsiteY3" fmla="*/ 0 h 6299999"/>
              <a:gd name="connsiteX4" fmla="*/ 1049165 w 1049165"/>
              <a:gd name="connsiteY4" fmla="*/ 6213978 h 6299999"/>
              <a:gd name="connsiteX0" fmla="*/ 0 w 1049165"/>
              <a:gd name="connsiteY0" fmla="*/ 4667283 h 6299999"/>
              <a:gd name="connsiteX1" fmla="*/ 11634 w 1049165"/>
              <a:gd name="connsiteY1" fmla="*/ 0 h 6299999"/>
              <a:gd name="connsiteX2" fmla="*/ 1049165 w 1049165"/>
              <a:gd name="connsiteY2" fmla="*/ 6213978 h 6299999"/>
              <a:gd name="connsiteX3" fmla="*/ 6933 w 1049165"/>
              <a:gd name="connsiteY3" fmla="*/ 6299998 h 6299999"/>
              <a:gd name="connsiteX4" fmla="*/ 91440 w 1049165"/>
              <a:gd name="connsiteY4" fmla="*/ 4758723 h 6299999"/>
              <a:gd name="connsiteX0" fmla="*/ 0 w 1049165"/>
              <a:gd name="connsiteY0" fmla="*/ 4667283 h 6299999"/>
              <a:gd name="connsiteX1" fmla="*/ 11634 w 1049165"/>
              <a:gd name="connsiteY1" fmla="*/ 0 h 6299999"/>
              <a:gd name="connsiteX2" fmla="*/ 1049165 w 1049165"/>
              <a:gd name="connsiteY2" fmla="*/ 6213978 h 6299999"/>
              <a:gd name="connsiteX3" fmla="*/ 6933 w 1049165"/>
              <a:gd name="connsiteY3" fmla="*/ 6299998 h 6299999"/>
              <a:gd name="connsiteX0" fmla="*/ 4701 w 1042232"/>
              <a:gd name="connsiteY0" fmla="*/ 0 h 6299999"/>
              <a:gd name="connsiteX1" fmla="*/ 1042232 w 1042232"/>
              <a:gd name="connsiteY1" fmla="*/ 6213978 h 6299999"/>
              <a:gd name="connsiteX2" fmla="*/ 0 w 1042232"/>
              <a:gd name="connsiteY2" fmla="*/ 6299998 h 6299999"/>
              <a:gd name="connsiteX0" fmla="*/ 1042232 w 1042232"/>
              <a:gd name="connsiteY0" fmla="*/ 0 h 86021"/>
              <a:gd name="connsiteX1" fmla="*/ 0 w 1042232"/>
              <a:gd name="connsiteY1" fmla="*/ 86020 h 86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2232" h="86021">
                <a:moveTo>
                  <a:pt x="1042232" y="0"/>
                </a:moveTo>
                <a:cubicBezTo>
                  <a:pt x="697806" y="57508"/>
                  <a:pt x="349194" y="86280"/>
                  <a:pt x="0" y="8602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5" name="Textfeld 64"/>
              <p:cNvSpPr txBox="1"/>
              <p:nvPr/>
            </p:nvSpPr>
            <p:spPr>
              <a:xfrm>
                <a:off x="1171575" y="349957"/>
                <a:ext cx="414152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i="1" dirty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𝜅</m:t>
                      </m:r>
                      <m:r>
                        <a:rPr lang="de-DE" sz="800" i="1" dirty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𝑎</m:t>
                          </m:r>
                        </m:sub>
                      </m:sSub>
                    </m:oMath>
                  </m:oMathPara>
                </a14:m>
                <a:endParaRPr lang="de-DE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65" name="Textfeld 6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71575" y="349957"/>
                <a:ext cx="414152" cy="215444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4" name="Gerader Verbinder 163"/>
          <p:cNvCxnSpPr/>
          <p:nvPr/>
        </p:nvCxnSpPr>
        <p:spPr>
          <a:xfrm>
            <a:off x="243409" y="1325010"/>
            <a:ext cx="720000" cy="0"/>
          </a:xfrm>
          <a:prstGeom prst="lin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68" name="Textfeld 167"/>
              <p:cNvSpPr txBox="1"/>
              <p:nvPr/>
            </p:nvSpPr>
            <p:spPr>
              <a:xfrm>
                <a:off x="875035" y="1147956"/>
                <a:ext cx="297261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𝐿</m:t>
                          </m:r>
                        </m:e>
                        <m:sub>
                          <m:r>
                            <a:rPr lang="de-DE" sz="800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𝑙</m:t>
                          </m:r>
                        </m:sub>
                      </m:sSub>
                    </m:oMath>
                  </m:oMathPara>
                </a14:m>
                <a:endParaRPr lang="de-DE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68" name="Textfeld 16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5035" y="1147956"/>
                <a:ext cx="297261" cy="215444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9" name="Ellipse 168"/>
          <p:cNvSpPr>
            <a:spLocks noChangeAspect="1"/>
          </p:cNvSpPr>
          <p:nvPr/>
        </p:nvSpPr>
        <p:spPr>
          <a:xfrm>
            <a:off x="764525" y="592637"/>
            <a:ext cx="36000" cy="3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70" name="Ellipse 169"/>
          <p:cNvSpPr>
            <a:spLocks noChangeAspect="1"/>
          </p:cNvSpPr>
          <p:nvPr/>
        </p:nvSpPr>
        <p:spPr>
          <a:xfrm>
            <a:off x="228504" y="1307010"/>
            <a:ext cx="36000" cy="3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C6E3206E-EF21-431F-84ED-97F1FA492B8B}"/>
              </a:ext>
            </a:extLst>
          </p:cNvPr>
          <p:cNvCxnSpPr>
            <a:cxnSpLocks/>
            <a:endCxn id="191" idx="2"/>
          </p:cNvCxnSpPr>
          <p:nvPr/>
        </p:nvCxnSpPr>
        <p:spPr>
          <a:xfrm flipV="1">
            <a:off x="1833072" y="315258"/>
            <a:ext cx="0" cy="831566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26433530-B7EC-4A0C-814D-374CF5E0A871}"/>
              </a:ext>
            </a:extLst>
          </p:cNvPr>
          <p:cNvCxnSpPr>
            <a:cxnSpLocks/>
          </p:cNvCxnSpPr>
          <p:nvPr/>
        </p:nvCxnSpPr>
        <p:spPr>
          <a:xfrm>
            <a:off x="1830937" y="1146824"/>
            <a:ext cx="1140891" cy="0"/>
          </a:xfrm>
          <a:prstGeom prst="straightConnector1">
            <a:avLst/>
          </a:prstGeom>
          <a:noFill/>
          <a:ln w="6350" cap="flat" cmpd="sng" algn="ctr">
            <a:solidFill>
              <a:srgbClr val="171717"/>
            </a:solidFill>
            <a:prstDash val="solid"/>
            <a:tailEnd type="triangle" w="sm" len="sm"/>
          </a:ln>
          <a:effectLst/>
        </p:spPr>
      </p:cxnSp>
      <p:sp>
        <p:nvSpPr>
          <p:cNvPr id="180" name="Kreis 63"/>
          <p:cNvSpPr/>
          <p:nvPr/>
        </p:nvSpPr>
        <p:spPr>
          <a:xfrm>
            <a:off x="1830936" y="1060804"/>
            <a:ext cx="1042232" cy="86021"/>
          </a:xfrm>
          <a:custGeom>
            <a:avLst/>
            <a:gdLst>
              <a:gd name="connsiteX0" fmla="*/ 7337531 w 12600000"/>
              <a:gd name="connsiteY0" fmla="*/ 12513978 h 12600000"/>
              <a:gd name="connsiteX1" fmla="*/ 6295299 w 12600000"/>
              <a:gd name="connsiteY1" fmla="*/ 12599998 h 12600000"/>
              <a:gd name="connsiteX2" fmla="*/ 6300000 w 12600000"/>
              <a:gd name="connsiteY2" fmla="*/ 6300000 h 12600000"/>
              <a:gd name="connsiteX3" fmla="*/ 7337531 w 12600000"/>
              <a:gd name="connsiteY3" fmla="*/ 12513978 h 12600000"/>
              <a:gd name="connsiteX0" fmla="*/ 1049165 w 1049165"/>
              <a:gd name="connsiteY0" fmla="*/ 6213978 h 6299999"/>
              <a:gd name="connsiteX1" fmla="*/ 6933 w 1049165"/>
              <a:gd name="connsiteY1" fmla="*/ 6299998 h 6299999"/>
              <a:gd name="connsiteX2" fmla="*/ 0 w 1049165"/>
              <a:gd name="connsiteY2" fmla="*/ 4667283 h 6299999"/>
              <a:gd name="connsiteX3" fmla="*/ 11634 w 1049165"/>
              <a:gd name="connsiteY3" fmla="*/ 0 h 6299999"/>
              <a:gd name="connsiteX4" fmla="*/ 1049165 w 1049165"/>
              <a:gd name="connsiteY4" fmla="*/ 6213978 h 6299999"/>
              <a:gd name="connsiteX0" fmla="*/ 0 w 1049165"/>
              <a:gd name="connsiteY0" fmla="*/ 4667283 h 6299999"/>
              <a:gd name="connsiteX1" fmla="*/ 11634 w 1049165"/>
              <a:gd name="connsiteY1" fmla="*/ 0 h 6299999"/>
              <a:gd name="connsiteX2" fmla="*/ 1049165 w 1049165"/>
              <a:gd name="connsiteY2" fmla="*/ 6213978 h 6299999"/>
              <a:gd name="connsiteX3" fmla="*/ 6933 w 1049165"/>
              <a:gd name="connsiteY3" fmla="*/ 6299998 h 6299999"/>
              <a:gd name="connsiteX4" fmla="*/ 91440 w 1049165"/>
              <a:gd name="connsiteY4" fmla="*/ 4758723 h 6299999"/>
              <a:gd name="connsiteX0" fmla="*/ 0 w 1049165"/>
              <a:gd name="connsiteY0" fmla="*/ 4667283 h 6299999"/>
              <a:gd name="connsiteX1" fmla="*/ 11634 w 1049165"/>
              <a:gd name="connsiteY1" fmla="*/ 0 h 6299999"/>
              <a:gd name="connsiteX2" fmla="*/ 1049165 w 1049165"/>
              <a:gd name="connsiteY2" fmla="*/ 6213978 h 6299999"/>
              <a:gd name="connsiteX3" fmla="*/ 6933 w 1049165"/>
              <a:gd name="connsiteY3" fmla="*/ 6299998 h 6299999"/>
              <a:gd name="connsiteX0" fmla="*/ 4701 w 1042232"/>
              <a:gd name="connsiteY0" fmla="*/ 0 h 6299999"/>
              <a:gd name="connsiteX1" fmla="*/ 1042232 w 1042232"/>
              <a:gd name="connsiteY1" fmla="*/ 6213978 h 6299999"/>
              <a:gd name="connsiteX2" fmla="*/ 0 w 1042232"/>
              <a:gd name="connsiteY2" fmla="*/ 6299998 h 6299999"/>
              <a:gd name="connsiteX0" fmla="*/ 1042232 w 1042232"/>
              <a:gd name="connsiteY0" fmla="*/ 0 h 86021"/>
              <a:gd name="connsiteX1" fmla="*/ 0 w 1042232"/>
              <a:gd name="connsiteY1" fmla="*/ 86020 h 86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2232" h="86021">
                <a:moveTo>
                  <a:pt x="1042232" y="0"/>
                </a:moveTo>
                <a:cubicBezTo>
                  <a:pt x="697806" y="57508"/>
                  <a:pt x="349194" y="86280"/>
                  <a:pt x="0" y="8602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cxnSp>
        <p:nvCxnSpPr>
          <p:cNvPr id="181" name="Gerader Verbinder 180"/>
          <p:cNvCxnSpPr/>
          <p:nvPr/>
        </p:nvCxnSpPr>
        <p:spPr>
          <a:xfrm rot="4800000">
            <a:off x="1947755" y="767282"/>
            <a:ext cx="720000" cy="0"/>
          </a:xfrm>
          <a:prstGeom prst="lin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2" name="Ellipse 181"/>
          <p:cNvSpPr>
            <a:spLocks noChangeAspect="1"/>
          </p:cNvSpPr>
          <p:nvPr/>
        </p:nvSpPr>
        <p:spPr>
          <a:xfrm>
            <a:off x="2352052" y="1103813"/>
            <a:ext cx="36000" cy="3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88" name="Textfeld 187"/>
              <p:cNvSpPr txBox="1"/>
              <p:nvPr/>
            </p:nvSpPr>
            <p:spPr>
              <a:xfrm>
                <a:off x="2380168" y="823854"/>
                <a:ext cx="274306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800" i="1" dirty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𝛼</m:t>
                      </m:r>
                    </m:oMath>
                  </m:oMathPara>
                </a14:m>
                <a:endParaRPr lang="de-DE" sz="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188" name="Textfeld 18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0168" y="823854"/>
                <a:ext cx="274306" cy="21544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9" name="Textfeld 188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308448" y="527927"/>
                <a:ext cx="308931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89" name="Textfeld 188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8448" y="527927"/>
                <a:ext cx="308931" cy="215444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308448" y="1224130"/>
                <a:ext cx="311303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90" name="Textfeld 189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8448" y="1224130"/>
                <a:ext cx="311303" cy="21544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1674022" y="99814"/>
                <a:ext cx="318100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91" name="Textfeld 190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4022" y="99814"/>
                <a:ext cx="318100" cy="21544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/>
              <p:nvPr/>
            </p:nvSpPr>
            <p:spPr>
              <a:xfrm>
                <a:off x="2897389" y="1039102"/>
                <a:ext cx="308931" cy="215444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wrap="none" rtlCol="0">
                <a:spAutoFit/>
              </a:bodyPr>
              <a:lstStyle/>
              <a:p>
                <a:pPr defTabSz="101663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sz="800" i="1" kern="0">
                              <a:solidFill>
                                <a:srgbClr val="171717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de-DE" sz="800" kern="0" dirty="0">
                  <a:solidFill>
                    <a:srgbClr val="17171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92" name="Textfeld 191">
                <a:extLst>
                  <a:ext uri="{FF2B5EF4-FFF2-40B4-BE49-F238E27FC236}">
                    <a16:creationId xmlns:a16="http://schemas.microsoft.com/office/drawing/2014/main" id="{5CEDDDAD-3C2F-4D81-98B5-39585E49A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97389" y="1039102"/>
                <a:ext cx="308931" cy="215444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  <a:ln w="6350">
                <a:noFill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334614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AfZ4KIOWW5hcuSKUwi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9</Words>
  <Application>Microsoft Office PowerPoint</Application>
  <PresentationFormat>Benutzerdefiniert</PresentationFormat>
  <Paragraphs>13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Cambria Math</vt:lpstr>
      <vt:lpstr>Times New Roman</vt:lpstr>
      <vt:lpstr>Office</vt:lpstr>
      <vt:lpstr>think-cell Folie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Becker</dc:creator>
  <cp:lastModifiedBy>Daniel Becker</cp:lastModifiedBy>
  <cp:revision>11</cp:revision>
  <dcterms:created xsi:type="dcterms:W3CDTF">2020-02-07T12:21:17Z</dcterms:created>
  <dcterms:modified xsi:type="dcterms:W3CDTF">2020-02-29T20:04:07Z</dcterms:modified>
</cp:coreProperties>
</file>